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tags/tag5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sldIdLst>
    <p:sldId id="256" r:id="rId2"/>
    <p:sldId id="272" r:id="rId3"/>
    <p:sldId id="274" r:id="rId4"/>
    <p:sldId id="266" r:id="rId5"/>
    <p:sldId id="261" r:id="rId6"/>
    <p:sldId id="285" r:id="rId7"/>
    <p:sldId id="284" r:id="rId8"/>
    <p:sldId id="276" r:id="rId9"/>
    <p:sldId id="280" r:id="rId10"/>
    <p:sldId id="273" r:id="rId11"/>
  </p:sldIdLst>
  <p:sldSz cx="12192000" cy="6858000"/>
  <p:notesSz cx="6858000" cy="91440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9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DB9EE67-1B96-4006-BBF7-51CA5DFD4F65}" v="2" dt="2024-03-25T14:57:27.52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89587" autoAdjust="0"/>
  </p:normalViewPr>
  <p:slideViewPr>
    <p:cSldViewPr snapToGrid="0">
      <p:cViewPr varScale="1">
        <p:scale>
          <a:sx n="112" d="100"/>
          <a:sy n="112" d="100"/>
        </p:scale>
        <p:origin x="492" y="9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18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a-DK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konsolideret '!$G$15</c:f>
              <c:strCache>
                <c:ptCount val="1"/>
                <c:pt idx="0">
                  <c:v>Likviditet til Anlægskapital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val>
            <c:numRef>
              <c:f>'konsolideret '!$H$15:$S$15</c:f>
              <c:numCache>
                <c:formatCode>_-* #,##0\ [$kr.-406]_-;\-* #,##0\ [$kr.-406]_-;_-* "-"??\ [$kr.-406]_-;_-@_-</c:formatCode>
                <c:ptCount val="12"/>
                <c:pt idx="0">
                  <c:v>171275</c:v>
                </c:pt>
                <c:pt idx="1">
                  <c:v>271480</c:v>
                </c:pt>
                <c:pt idx="2">
                  <c:v>208015</c:v>
                </c:pt>
                <c:pt idx="3">
                  <c:v>333758</c:v>
                </c:pt>
                <c:pt idx="4">
                  <c:v>357129</c:v>
                </c:pt>
                <c:pt idx="5">
                  <c:v>161759</c:v>
                </c:pt>
                <c:pt idx="6">
                  <c:v>206931</c:v>
                </c:pt>
                <c:pt idx="7">
                  <c:v>209668</c:v>
                </c:pt>
                <c:pt idx="8">
                  <c:v>95848</c:v>
                </c:pt>
                <c:pt idx="9">
                  <c:v>128738</c:v>
                </c:pt>
                <c:pt idx="10">
                  <c:v>148857</c:v>
                </c:pt>
                <c:pt idx="11">
                  <c:v>708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B1A-40E8-9AE7-A2EC1AF00B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20028319"/>
        <c:axId val="220033119"/>
      </c:lineChart>
      <c:catAx>
        <c:axId val="22002831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220033119"/>
        <c:crosses val="autoZero"/>
        <c:auto val="1"/>
        <c:lblAlgn val="ctr"/>
        <c:lblOffset val="100"/>
        <c:noMultiLvlLbl val="0"/>
      </c:catAx>
      <c:valAx>
        <c:axId val="22003311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* #,##0\ [$kr.-406]_-;\-* #,##0\ [$kr.-406]_-;_-* &quot;-&quot;??\ [$kr.-406]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22002831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a-DK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1B251AA-D938-4C72-9944-18B02E5D113B}" type="datetimeFigureOut">
              <a:rPr lang="en-GB" smtClean="0"/>
              <a:t>01/04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F23B44-9D73-474B-ADFE-DB665D87450C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44775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General </a:t>
            </a:r>
            <a:r>
              <a:rPr lang="de-DE" dirty="0" err="1"/>
              <a:t>Forsamling</a:t>
            </a:r>
            <a:r>
              <a:rPr lang="de-DE" dirty="0"/>
              <a:t> 2016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5A288C-AB6D-4DBC-B760-C10B79A31833}" type="slidenum">
              <a:rPr lang="en-GB" smtClean="0"/>
              <a:t>‹nr.›</a:t>
            </a:fld>
            <a:endParaRPr lang="en-GB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/>
          <a:srcRect l="34334" t="7326" r="999" b="72612"/>
          <a:stretch/>
        </p:blipFill>
        <p:spPr>
          <a:xfrm>
            <a:off x="0" y="0"/>
            <a:ext cx="12197588" cy="2065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24773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F2A8E8-5D1F-451C-951A-F2ADFE7DB88A}" type="datetimeFigureOut">
              <a:rPr lang="en-GB" smtClean="0"/>
              <a:t>01/04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5A288C-AB6D-4DBC-B760-C10B79A31833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63386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F2A8E8-5D1F-451C-951A-F2ADFE7DB88A}" type="datetimeFigureOut">
              <a:rPr lang="en-GB" smtClean="0"/>
              <a:t>01/04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5A288C-AB6D-4DBC-B760-C10B79A31833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313234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General </a:t>
            </a:r>
            <a:r>
              <a:rPr lang="de-DE" dirty="0" err="1"/>
              <a:t>Forsamling</a:t>
            </a:r>
            <a:r>
              <a:rPr lang="de-DE" dirty="0"/>
              <a:t> 2016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5A288C-AB6D-4DBC-B760-C10B79A31833}" type="slidenum">
              <a:rPr lang="en-GB" smtClean="0"/>
              <a:t>‹nr.›</a:t>
            </a:fld>
            <a:endParaRPr lang="en-GB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/>
          <a:srcRect l="34334" t="7326" r="999" b="72612"/>
          <a:stretch/>
        </p:blipFill>
        <p:spPr>
          <a:xfrm>
            <a:off x="0" y="0"/>
            <a:ext cx="12197588" cy="2065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25258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F2A8E8-5D1F-451C-951A-F2ADFE7DB88A}" type="datetimeFigureOut">
              <a:rPr lang="en-GB" smtClean="0"/>
              <a:t>01/04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5A288C-AB6D-4DBC-B760-C10B79A31833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74177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F2A8E8-5D1F-451C-951A-F2ADFE7DB88A}" type="datetimeFigureOut">
              <a:rPr lang="en-GB" smtClean="0"/>
              <a:t>01/04/2024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5A288C-AB6D-4DBC-B760-C10B79A31833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95442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F2A8E8-5D1F-451C-951A-F2ADFE7DB88A}" type="datetimeFigureOut">
              <a:rPr lang="en-GB" smtClean="0"/>
              <a:t>01/04/2024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5A288C-AB6D-4DBC-B760-C10B79A31833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01703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F2A8E8-5D1F-451C-951A-F2ADFE7DB88A}" type="datetimeFigureOut">
              <a:rPr lang="en-GB" smtClean="0"/>
              <a:t>01/04/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5A288C-AB6D-4DBC-B760-C10B79A31833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89106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F2A8E8-5D1F-451C-951A-F2ADFE7DB88A}" type="datetimeFigureOut">
              <a:rPr lang="en-GB" smtClean="0"/>
              <a:t>01/04/2024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5A288C-AB6D-4DBC-B760-C10B79A31833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52362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F2A8E8-5D1F-451C-951A-F2ADFE7DB88A}" type="datetimeFigureOut">
              <a:rPr lang="en-GB" smtClean="0"/>
              <a:t>01/04/2024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5A288C-AB6D-4DBC-B760-C10B79A31833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84669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F2A8E8-5D1F-451C-951A-F2ADFE7DB88A}" type="datetimeFigureOut">
              <a:rPr lang="en-GB" smtClean="0"/>
              <a:t>01/04/2024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5A288C-AB6D-4DBC-B760-C10B79A31833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628995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1B995BE-A35E-45D5-B6EC-AAE8BD63A3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4614419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92" imgH="591" progId="TCLayout.ActiveDocument.1">
                  <p:embed/>
                </p:oleObj>
              </mc:Choice>
              <mc:Fallback>
                <p:oleObj name="think-cell Slide" r:id="rId14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1B995BE-A35E-45D5-B6EC-AAE8BD63A3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F2A8E8-5D1F-451C-951A-F2ADFE7DB88A}" type="datetimeFigureOut">
              <a:rPr lang="en-GB" smtClean="0"/>
              <a:t>01/04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5A288C-AB6D-4DBC-B760-C10B79A31833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78571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.emf"/><Relationship Id="rId9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1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02A6C24-9876-444B-B0AB-6CAC084B0B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2689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02A6C24-9876-444B-B0AB-6CAC084B0B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2660138"/>
            <a:ext cx="9144000" cy="2387600"/>
          </a:xfrm>
        </p:spPr>
        <p:txBody>
          <a:bodyPr vert="horz">
            <a:noAutofit/>
          </a:bodyPr>
          <a:lstStyle/>
          <a:p>
            <a:br>
              <a:rPr lang="de-DE" sz="44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4400" b="1" dirty="0" err="1">
                <a:latin typeface="Arial" panose="020B0604020202020204" pitchFamily="34" charset="0"/>
                <a:cs typeface="Arial" panose="020B0604020202020204" pitchFamily="34" charset="0"/>
              </a:rPr>
              <a:t>Ordinært</a:t>
            </a:r>
            <a:r>
              <a:rPr lang="de-DE" sz="4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4400" b="1" dirty="0" err="1">
                <a:latin typeface="Arial" panose="020B0604020202020204" pitchFamily="34" charset="0"/>
                <a:cs typeface="Arial" panose="020B0604020202020204" pitchFamily="34" charset="0"/>
              </a:rPr>
              <a:t>Interessentskabsm</a:t>
            </a:r>
            <a:r>
              <a:rPr lang="da-DK" sz="4400" b="1" dirty="0">
                <a:latin typeface="Arial" panose="020B0604020202020204" pitchFamily="34" charset="0"/>
                <a:cs typeface="Arial" panose="020B0604020202020204" pitchFamily="34" charset="0"/>
              </a:rPr>
              <a:t>øde</a:t>
            </a:r>
            <a:r>
              <a:rPr lang="de-DE" sz="4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4400" b="1" dirty="0" err="1"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de-DE" sz="4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4400" b="1" dirty="0" err="1">
                <a:latin typeface="Arial" panose="020B0604020202020204" pitchFamily="34" charset="0"/>
                <a:cs typeface="Arial" panose="020B0604020202020204" pitchFamily="34" charset="0"/>
              </a:rPr>
              <a:t>året</a:t>
            </a:r>
            <a:r>
              <a:rPr lang="de-DE" sz="4400" b="1" dirty="0">
                <a:latin typeface="Arial" panose="020B0604020202020204" pitchFamily="34" charset="0"/>
                <a:cs typeface="Arial" panose="020B0604020202020204" pitchFamily="34" charset="0"/>
              </a:rPr>
              <a:t> 2023</a:t>
            </a:r>
            <a:endParaRPr lang="en-GB" sz="4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19143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pPr marL="0" indent="0" algn="ctr">
              <a:buNone/>
            </a:pPr>
            <a:r>
              <a:rPr lang="da-DK" sz="4400" dirty="0"/>
              <a:t>Tak for i aften og kom godt hjem</a:t>
            </a:r>
            <a:endParaRPr lang="en-GB" sz="4400" dirty="0"/>
          </a:p>
        </p:txBody>
      </p:sp>
    </p:spTree>
    <p:extLst>
      <p:ext uri="{BB962C8B-B14F-4D97-AF65-F5344CB8AC3E}">
        <p14:creationId xmlns:p14="http://schemas.microsoft.com/office/powerpoint/2010/main" val="35917382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0515600" cy="132556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 sz="4000" b="1" dirty="0">
                <a:latin typeface="Arial" panose="020B0604020202020204" pitchFamily="34" charset="0"/>
                <a:cs typeface="Arial" panose="020B0604020202020204" pitchFamily="34" charset="0"/>
              </a:rPr>
              <a:t>Dagsorden</a:t>
            </a:r>
            <a:endParaRPr lang="en-GB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1">
            <a:extLst>
              <a:ext uri="{FF2B5EF4-FFF2-40B4-BE49-F238E27FC236}">
                <a16:creationId xmlns:a16="http://schemas.microsoft.com/office/drawing/2014/main" id="{F7D4DEE2-B67C-43DA-9F31-830D7CD001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323165"/>
            <a:ext cx="264816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altLang="da-DK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da-DK" altLang="da-DK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" name="Tekstfelt 5">
            <a:extLst>
              <a:ext uri="{FF2B5EF4-FFF2-40B4-BE49-F238E27FC236}">
                <a16:creationId xmlns:a16="http://schemas.microsoft.com/office/drawing/2014/main" id="{3D61351B-DA4D-4EF8-992E-3EF52C838605}"/>
              </a:ext>
            </a:extLst>
          </p:cNvPr>
          <p:cNvSpPr txBox="1"/>
          <p:nvPr/>
        </p:nvSpPr>
        <p:spPr>
          <a:xfrm>
            <a:off x="430129" y="2123080"/>
            <a:ext cx="11523244" cy="42056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da-DK" altLang="da-DK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Velkomst ved formanden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lang="da-DK" altLang="da-DK" sz="1400" dirty="0">
              <a:latin typeface="Arial" panose="020B0604020202020204" pitchFamily="34" charset="0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da-DK" altLang="da-DK" sz="1400" dirty="0">
                <a:latin typeface="Arial" panose="020B0604020202020204" pitchFamily="34" charset="0"/>
              </a:rPr>
              <a:t>Dagsorden:</a:t>
            </a:r>
            <a:endParaRPr kumimoji="0" lang="da-DK" altLang="da-DK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kumimoji="0" lang="da-DK" altLang="da-DK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Valg af dirigent og referent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kumimoji="0" lang="da-DK" altLang="da-DK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Fremlæggelse af formandens beretning til godkendelse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kumimoji="0" lang="da-DK" altLang="da-DK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Fremlæggelse af regnskabet for året 2023 til godkendelse. Fremlæggelse af budget for året 2024 til godkendelse samt udlodning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kumimoji="0" lang="da-DK" altLang="da-DK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Valg af bestyrelsen. På valg er:</a:t>
            </a:r>
          </a:p>
          <a:p>
            <a:pPr marL="800100" lvl="1" indent="-342900">
              <a:lnSpc>
                <a:spcPct val="107000"/>
              </a:lnSpc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da-DK" sz="1400" dirty="0">
                <a:latin typeface="Arial" panose="020B0604020202020204" pitchFamily="34" charset="0"/>
              </a:rPr>
              <a:t>Kim Wichmann-Hansen modtager valg for 1 år</a:t>
            </a:r>
          </a:p>
          <a:p>
            <a:pPr marL="800100" lvl="1" indent="-342900">
              <a:lnSpc>
                <a:spcPct val="107000"/>
              </a:lnSpc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da-DK" sz="1400" dirty="0">
                <a:latin typeface="Arial" panose="020B0604020202020204" pitchFamily="34" charset="0"/>
              </a:rPr>
              <a:t>Lars Vejrup, modtager genvalg</a:t>
            </a:r>
          </a:p>
          <a:p>
            <a:pPr marL="800100" lvl="1" indent="-342900">
              <a:spcAft>
                <a:spcPts val="800"/>
              </a:spcAft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da-DK" sz="1400" dirty="0">
                <a:latin typeface="Arial" panose="020B0604020202020204" pitchFamily="34" charset="0"/>
              </a:rPr>
              <a:t>Morten Nielsen, modtager genvalg (Morten indtrådte for Søren Motzkus’ anden valgperiode</a:t>
            </a:r>
          </a:p>
          <a:p>
            <a:pPr lvl="1">
              <a:spcAft>
                <a:spcPts val="800"/>
              </a:spcAft>
              <a:tabLst>
                <a:tab pos="457200" algn="l"/>
              </a:tabLst>
            </a:pPr>
            <a:r>
              <a:rPr lang="da-DK" altLang="da-DK" sz="1400" dirty="0">
                <a:latin typeface="Arial" panose="020B0604020202020204" pitchFamily="34" charset="0"/>
              </a:rPr>
              <a:t>Valg af suppleanter, På valg er:</a:t>
            </a:r>
          </a:p>
          <a:p>
            <a:pPr marL="800100" lvl="1" indent="-3429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da-DK" altLang="da-DK" sz="1400">
                <a:latin typeface="Arial" panose="020B0604020202020204" pitchFamily="34" charset="0"/>
              </a:rPr>
              <a:t>Erling Storm</a:t>
            </a:r>
            <a:endParaRPr kumimoji="0" lang="da-DK" altLang="da-DK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800100" lvl="1" indent="-3429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0" lang="da-DK" altLang="da-DK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Bent Christensen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kumimoji="0" lang="da-DK" altLang="da-DK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Valg af revision, hidtil Revision Kjær, Bestyrelsen foreslår genvalg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kumimoji="0" lang="da-DK" altLang="da-DK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Indkommende forslag. 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kumimoji="0" lang="da-DK" altLang="da-DK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Eventuelt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da-DK" altLang="da-DK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da-DK" altLang="da-DK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Afslutning ved formand </a:t>
            </a:r>
            <a:endParaRPr lang="da-DK" sz="1400" dirty="0"/>
          </a:p>
        </p:txBody>
      </p:sp>
    </p:spTree>
    <p:extLst>
      <p:ext uri="{BB962C8B-B14F-4D97-AF65-F5344CB8AC3E}">
        <p14:creationId xmlns:p14="http://schemas.microsoft.com/office/powerpoint/2010/main" val="5201675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92500" lnSpcReduction="20000"/>
          </a:bodyPr>
          <a:lstStyle/>
          <a:p>
            <a:endParaRPr lang="de-DE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e-DE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Formandens</a:t>
            </a:r>
            <a:r>
              <a:rPr lang="de-DE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Beretning</a:t>
            </a:r>
            <a:r>
              <a:rPr lang="de-DE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de-DE" sz="2800" b="1" dirty="0">
                <a:latin typeface="Arial" panose="020B0604020202020204" pitchFamily="34" charset="0"/>
                <a:cs typeface="Arial" panose="020B0604020202020204" pitchFamily="34" charset="0"/>
              </a:rPr>
              <a:t>Kim Wichmann-Hansen</a:t>
            </a:r>
            <a:endParaRPr lang="en-GB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64624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0515600" cy="132556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 sz="4000" b="1" dirty="0">
                <a:latin typeface="Arial" panose="020B0604020202020204" pitchFamily="34" charset="0"/>
                <a:cs typeface="Arial" panose="020B0604020202020204" pitchFamily="34" charset="0"/>
              </a:rPr>
              <a:t>Beretning</a:t>
            </a:r>
            <a:endParaRPr lang="en-GB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0829" y="2085114"/>
            <a:ext cx="11676766" cy="4351338"/>
          </a:xfrm>
        </p:spPr>
        <p:txBody>
          <a:bodyPr>
            <a:noAutofit/>
          </a:bodyPr>
          <a:lstStyle/>
          <a:p>
            <a:r>
              <a:rPr lang="da-DK" sz="1400" dirty="0"/>
              <a:t>Gennemgang af medlemslister og overblik</a:t>
            </a:r>
          </a:p>
          <a:p>
            <a:pPr lvl="1"/>
            <a:r>
              <a:rPr lang="da-DK" sz="1400" dirty="0"/>
              <a:t>Andele totalt 3267 (</a:t>
            </a:r>
            <a:r>
              <a:rPr lang="da-DK" sz="1400" dirty="0" err="1"/>
              <a:t>jvf</a:t>
            </a:r>
            <a:r>
              <a:rPr lang="da-DK" sz="1400" dirty="0"/>
              <a:t> årsregnskabet </a:t>
            </a:r>
            <a:r>
              <a:rPr lang="da-DK" sz="1400" dirty="0" err="1"/>
              <a:t>notside</a:t>
            </a:r>
            <a:r>
              <a:rPr lang="da-DK" sz="1400" dirty="0"/>
              <a:t> 9)</a:t>
            </a:r>
          </a:p>
          <a:p>
            <a:pPr lvl="1"/>
            <a:r>
              <a:rPr lang="da-DK" sz="1400" dirty="0"/>
              <a:t>Medlemmer total 241</a:t>
            </a:r>
          </a:p>
          <a:p>
            <a:pPr lvl="1"/>
            <a:r>
              <a:rPr lang="da-DK" sz="1400" dirty="0"/>
              <a:t>Udsendte invitationer 118 til 148 andelshavere</a:t>
            </a:r>
          </a:p>
          <a:p>
            <a:r>
              <a:rPr lang="da-DK" sz="1400" dirty="0"/>
              <a:t>4 bestyrelsesmøder</a:t>
            </a:r>
          </a:p>
          <a:p>
            <a:r>
              <a:rPr lang="da-DK" sz="1400" dirty="0"/>
              <a:t>Ekstraordinært Interessentskabsmøde afholdt  sommer 2023 ved møllerne </a:t>
            </a:r>
            <a:r>
              <a:rPr lang="da-DK" sz="1400" dirty="0" err="1"/>
              <a:t>inkl</a:t>
            </a:r>
            <a:r>
              <a:rPr lang="da-DK" sz="1400" dirty="0"/>
              <a:t> besøg og kravletur i møllerne. </a:t>
            </a:r>
            <a:r>
              <a:rPr lang="da-DK" sz="1400" dirty="0" err="1"/>
              <a:t>Ifbm</a:t>
            </a:r>
            <a:r>
              <a:rPr lang="da-DK" sz="1400" dirty="0"/>
              <a:t> vedtægtsændringer for udlodninger og indkaldelser</a:t>
            </a:r>
          </a:p>
          <a:p>
            <a:r>
              <a:rPr lang="da-DK" sz="1400" dirty="0"/>
              <a:t>Ingen nævneværdige størrer tekniske udfordringer, udover en defekt VRCC (brødrister) </a:t>
            </a:r>
          </a:p>
          <a:p>
            <a:r>
              <a:rPr lang="da-DK" sz="1400" dirty="0"/>
              <a:t>Faktura godkendelsesproces overholdt</a:t>
            </a:r>
          </a:p>
          <a:p>
            <a:r>
              <a:rPr lang="da-DK" sz="1400" dirty="0"/>
              <a:t>Fornuftige energi priser har holdt værdien af møllerne højt – ikke så relevant når vi ikke skal sælge dem.</a:t>
            </a:r>
            <a:endParaRPr lang="da-DK" sz="1400" dirty="0">
              <a:highlight>
                <a:srgbClr val="FFFF00"/>
              </a:highlight>
            </a:endParaRPr>
          </a:p>
          <a:p>
            <a:r>
              <a:rPr lang="da-DK" sz="1400" dirty="0"/>
              <a:t>2023 har været et moderat vind år (se næste slide). Hvor der i regionen har været 100% og vi har høstet lidt under vores historiske gennemsnit</a:t>
            </a:r>
          </a:p>
          <a:p>
            <a:r>
              <a:rPr lang="da-DK" sz="1400" dirty="0"/>
              <a:t>Året resultat med et overskud på 795.796 og 2 udlodninger på i alt 322.091 (Juli og </a:t>
            </a:r>
            <a:r>
              <a:rPr lang="da-DK" sz="1400" dirty="0" err="1"/>
              <a:t>Sept</a:t>
            </a:r>
            <a:r>
              <a:rPr lang="da-DK" sz="1400" dirty="0"/>
              <a:t>) , må betragtes som tilfredsstillende. Det skyldes en jævn produktion på en god spot pris på gennemsnitlig 43,4 øre. Ydermere går vi ind i året med 637.015 på bank bogen som er yderlige vokset</a:t>
            </a:r>
          </a:p>
          <a:p>
            <a:r>
              <a:rPr lang="da-DK" sz="1400" dirty="0"/>
              <a:t>Reetableret minimums kapital</a:t>
            </a:r>
          </a:p>
          <a:p>
            <a:r>
              <a:rPr lang="da-DK" sz="1400" dirty="0"/>
              <a:t>Tilbageholdte udlodningen i December 2023 </a:t>
            </a:r>
            <a:r>
              <a:rPr lang="da-DK" sz="1400" dirty="0" err="1"/>
              <a:t>pga</a:t>
            </a:r>
            <a:r>
              <a:rPr lang="da-DK" sz="1400" dirty="0"/>
              <a:t> en </a:t>
            </a:r>
            <a:r>
              <a:rPr lang="da-DK" sz="1400" dirty="0" err="1"/>
              <a:t>raparation</a:t>
            </a:r>
            <a:r>
              <a:rPr lang="da-DK" sz="1400" dirty="0"/>
              <a:t> på VRCC, men vi fik forsikringsdækning og lavet udlodning i Marts 2024</a:t>
            </a:r>
          </a:p>
          <a:p>
            <a:r>
              <a:rPr lang="da-DK" sz="1400" dirty="0"/>
              <a:t>2024 ser ud til også at blive et jævnt år med en lavere spotpris. Vi budgettere med 35 øre.</a:t>
            </a:r>
          </a:p>
          <a:p>
            <a:endParaRPr lang="da-DK" sz="1400" dirty="0"/>
          </a:p>
        </p:txBody>
      </p:sp>
    </p:spTree>
    <p:extLst>
      <p:ext uri="{BB962C8B-B14F-4D97-AF65-F5344CB8AC3E}">
        <p14:creationId xmlns:p14="http://schemas.microsoft.com/office/powerpoint/2010/main" val="16855598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B038D0C-B739-47AF-AE5E-7F86E77985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5133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B038D0C-B739-47AF-AE5E-7F86E77985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0515600" cy="1325563"/>
          </a:xfrm>
        </p:spPr>
        <p:txBody>
          <a:bodyPr vert="horz"/>
          <a:lstStyle/>
          <a:p>
            <a:r>
              <a:rPr lang="da-DK" sz="4000" b="1" dirty="0">
                <a:latin typeface="Arial" panose="020B0604020202020204" pitchFamily="34" charset="0"/>
                <a:cs typeface="Arial" panose="020B0604020202020204" pitchFamily="34" charset="0"/>
              </a:rPr>
              <a:t>Beretning</a:t>
            </a:r>
            <a:endParaRPr lang="en-GB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da-DK" altLang="da-DK" sz="1100" b="0" i="0" u="none" strike="noStrike" cap="none" normalizeH="0" baseline="0">
                <a:ln>
                  <a:noFill/>
                </a:ln>
                <a:solidFill>
                  <a:srgbClr val="404040"/>
                </a:solidFill>
                <a:effectLst/>
                <a:latin typeface="Acme"/>
                <a:cs typeface="Arial" pitchFamily="34" charset="0"/>
              </a:rPr>
            </a:br>
            <a:endParaRPr kumimoji="0" lang="da-DK" altLang="da-DK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22">
            <a:extLst>
              <a:ext uri="{FF2B5EF4-FFF2-40B4-BE49-F238E27FC236}">
                <a16:creationId xmlns:a16="http://schemas.microsoft.com/office/drawing/2014/main" id="{841F6E64-AF7C-39DB-A2C9-AAF5BC93BC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8775" y="1900336"/>
            <a:ext cx="18473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a-DK" sz="1400"/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FFE10640-CC1C-3CE3-A764-307FAD953109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26880"/>
          <a:stretch/>
        </p:blipFill>
        <p:spPr>
          <a:xfrm>
            <a:off x="1223023" y="2174425"/>
            <a:ext cx="2409121" cy="2625508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839F2295-D795-28E2-1EF9-25E007A7C9C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84358" y="2490029"/>
            <a:ext cx="3274540" cy="1968681"/>
          </a:xfrm>
          <a:prstGeom prst="rect">
            <a:avLst/>
          </a:prstGeom>
        </p:spPr>
      </p:pic>
      <p:pic>
        <p:nvPicPr>
          <p:cNvPr id="8" name="Billede 7">
            <a:extLst>
              <a:ext uri="{FF2B5EF4-FFF2-40B4-BE49-F238E27FC236}">
                <a16:creationId xmlns:a16="http://schemas.microsoft.com/office/drawing/2014/main" id="{DDDE3C2E-40D6-A0AD-C0EE-B0CE4910876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0941" y="4812741"/>
            <a:ext cx="3473286" cy="1957380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0028C6A8-31F4-BDBA-3EB8-B3DB816BEC7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384894" y="4863736"/>
            <a:ext cx="3474004" cy="1906385"/>
          </a:xfrm>
          <a:prstGeom prst="rect">
            <a:avLst/>
          </a:prstGeom>
        </p:spPr>
      </p:pic>
      <p:pic>
        <p:nvPicPr>
          <p:cNvPr id="13" name="Billede 12">
            <a:extLst>
              <a:ext uri="{FF2B5EF4-FFF2-40B4-BE49-F238E27FC236}">
                <a16:creationId xmlns:a16="http://schemas.microsoft.com/office/drawing/2014/main" id="{DA6CBA57-4535-0573-FC48-6A560E79306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62821" y="2421924"/>
            <a:ext cx="3879237" cy="1470454"/>
          </a:xfrm>
          <a:prstGeom prst="rect">
            <a:avLst/>
          </a:prstGeom>
        </p:spPr>
      </p:pic>
      <p:cxnSp>
        <p:nvCxnSpPr>
          <p:cNvPr id="15" name="Lige forbindelse 14">
            <a:extLst>
              <a:ext uri="{FF2B5EF4-FFF2-40B4-BE49-F238E27FC236}">
                <a16:creationId xmlns:a16="http://schemas.microsoft.com/office/drawing/2014/main" id="{C2705FB1-A584-E592-9E4B-1E81CE56A1BA}"/>
              </a:ext>
            </a:extLst>
          </p:cNvPr>
          <p:cNvCxnSpPr>
            <a:cxnSpLocks/>
          </p:cNvCxnSpPr>
          <p:nvPr/>
        </p:nvCxnSpPr>
        <p:spPr>
          <a:xfrm>
            <a:off x="9008076" y="2693773"/>
            <a:ext cx="2910016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Lige forbindelse 17">
            <a:extLst>
              <a:ext uri="{FF2B5EF4-FFF2-40B4-BE49-F238E27FC236}">
                <a16:creationId xmlns:a16="http://schemas.microsoft.com/office/drawing/2014/main" id="{90686FAC-FE8C-8675-8AF6-4B03E6C9CC97}"/>
              </a:ext>
            </a:extLst>
          </p:cNvPr>
          <p:cNvCxnSpPr>
            <a:cxnSpLocks/>
          </p:cNvCxnSpPr>
          <p:nvPr/>
        </p:nvCxnSpPr>
        <p:spPr>
          <a:xfrm>
            <a:off x="9008076" y="3068594"/>
            <a:ext cx="2910016" cy="0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62165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0515600" cy="1325563"/>
          </a:xfrm>
        </p:spPr>
        <p:txBody>
          <a:bodyPr>
            <a:normAutofit/>
          </a:bodyPr>
          <a:lstStyle/>
          <a:p>
            <a:r>
              <a:rPr lang="da-DK" sz="3600" b="1" dirty="0">
                <a:latin typeface="Arial" panose="020B0604020202020204" pitchFamily="34" charset="0"/>
                <a:cs typeface="Arial" panose="020B0604020202020204" pitchFamily="34" charset="0"/>
              </a:rPr>
              <a:t>Teknik</a:t>
            </a:r>
            <a:r>
              <a:rPr lang="en-DK" sz="3600" b="1" dirty="0"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da-DK" sz="3600" b="1" dirty="0"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  <a:r>
              <a:rPr lang="en-DK" sz="3600" b="1" dirty="0">
                <a:latin typeface="Arial" panose="020B0604020202020204" pitchFamily="34" charset="0"/>
                <a:cs typeface="Arial" panose="020B0604020202020204" pitchFamily="34" charset="0"/>
              </a:rPr>
              <a:t>ø</a:t>
            </a:r>
            <a:r>
              <a:rPr lang="da-DK" sz="3600" b="1" dirty="0">
                <a:latin typeface="Arial" panose="020B0604020202020204" pitchFamily="34" charset="0"/>
                <a:cs typeface="Arial" panose="020B0604020202020204" pitchFamily="34" charset="0"/>
              </a:rPr>
              <a:t>l</a:t>
            </a:r>
            <a:r>
              <a:rPr lang="en-DK" sz="3600" b="1" dirty="0">
                <a:latin typeface="Arial" panose="020B0604020202020204" pitchFamily="34" charset="0"/>
                <a:cs typeface="Arial" panose="020B0604020202020204" pitchFamily="34" charset="0"/>
              </a:rPr>
              <a:t>l</a:t>
            </a:r>
            <a:r>
              <a:rPr lang="da-DK" sz="3600" b="1" dirty="0"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en-DK" sz="3600" b="1" dirty="0"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  <a:r>
              <a:rPr lang="da-DK" sz="3600" b="1" dirty="0"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r>
              <a:rPr lang="en-DK" sz="3600" b="1" dirty="0"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da-DK" sz="3600" b="1" dirty="0"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en-DK" sz="3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sz="3600" b="1" dirty="0"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en-DK" sz="3600" b="1" dirty="0"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da-DK" sz="3600" b="1" dirty="0">
                <a:latin typeface="Arial" panose="020B0604020202020204" pitchFamily="34" charset="0"/>
                <a:cs typeface="Arial" panose="020B0604020202020204" pitchFamily="34" charset="0"/>
              </a:rPr>
              <a:t>l</a:t>
            </a:r>
            <a:r>
              <a:rPr lang="en-DK" sz="3600" b="1" dirty="0"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da-DK" sz="3600" b="1" dirty="0"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en-DK" sz="3600" b="1" dirty="0"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da-DK" sz="3600" b="1" dirty="0"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r>
              <a:rPr lang="en-DK" sz="3600" b="1" dirty="0">
                <a:latin typeface="Arial" panose="020B0604020202020204" pitchFamily="34" charset="0"/>
                <a:cs typeface="Arial" panose="020B0604020202020204" pitchFamily="34" charset="0"/>
              </a:rPr>
              <a:t>d &amp; </a:t>
            </a:r>
            <a:r>
              <a:rPr lang="da-DK" sz="3600" b="1" dirty="0"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en-DK" sz="3600" b="1" dirty="0"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da-DK" sz="3600" b="1" dirty="0"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  <a:r>
              <a:rPr lang="en-DK" sz="3600" b="1" dirty="0">
                <a:latin typeface="Arial" panose="020B0604020202020204" pitchFamily="34" charset="0"/>
                <a:cs typeface="Arial" panose="020B0604020202020204" pitchFamily="34" charset="0"/>
              </a:rPr>
              <a:t>v</a:t>
            </a:r>
            <a:r>
              <a:rPr lang="da-DK" sz="3600" b="1" dirty="0"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en-DK" sz="3600" b="1" dirty="0"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lang="da-DK" sz="3600" b="1" dirty="0"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en-DK" sz="3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sz="3600" b="1" dirty="0">
                <a:latin typeface="Arial" panose="020B0604020202020204" pitchFamily="34" charset="0"/>
                <a:cs typeface="Arial" panose="020B0604020202020204" pitchFamily="34" charset="0"/>
              </a:rPr>
              <a:t>o</a:t>
            </a:r>
            <a:r>
              <a:rPr lang="en-DK" sz="3600" b="1" dirty="0">
                <a:latin typeface="Arial" panose="020B0604020202020204" pitchFamily="34" charset="0"/>
                <a:cs typeface="Arial" panose="020B0604020202020204" pitchFamily="34" charset="0"/>
              </a:rPr>
              <a:t>v</a:t>
            </a:r>
            <a:r>
              <a:rPr lang="da-DK" sz="3600" b="1" dirty="0"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en-DK" sz="3600" b="1" dirty="0"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  <a:r>
              <a:rPr lang="da-DK" sz="3600" b="1" dirty="0"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en-DK" sz="3600" b="1" dirty="0"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da-DK" sz="3600" b="1" dirty="0">
                <a:latin typeface="Arial" panose="020B0604020202020204" pitchFamily="34" charset="0"/>
                <a:cs typeface="Arial" panose="020B0604020202020204" pitchFamily="34" charset="0"/>
              </a:rPr>
              <a:t>g</a:t>
            </a:r>
            <a:r>
              <a:rPr lang="en-DK" sz="3600" b="1" dirty="0"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endParaRPr lang="en-GB" sz="3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1" y="2268762"/>
            <a:ext cx="8154411" cy="4158854"/>
          </a:xfrm>
        </p:spPr>
        <p:txBody>
          <a:bodyPr>
            <a:normAutofit lnSpcReduction="10000"/>
          </a:bodyPr>
          <a:lstStyle/>
          <a:p>
            <a:pPr marL="0" lvl="0" indent="0">
              <a:spcAft>
                <a:spcPts val="1000"/>
              </a:spcAft>
              <a:buNone/>
            </a:pPr>
            <a:r>
              <a:rPr lang="da-DK" sz="2000" b="1" u="sng" dirty="0"/>
              <a:t>Møllernes tilstand og Service oversigt:</a:t>
            </a:r>
          </a:p>
          <a:p>
            <a:pPr lvl="0">
              <a:spcAft>
                <a:spcPts val="1000"/>
              </a:spcAft>
            </a:pPr>
            <a:r>
              <a:rPr lang="da-DK" sz="1900" dirty="0"/>
              <a:t>Mølle 1304 (1998): </a:t>
            </a:r>
            <a:r>
              <a:rPr lang="en-DK" sz="1900" dirty="0"/>
              <a:t>1</a:t>
            </a:r>
            <a:r>
              <a:rPr lang="da-DK" sz="1900" dirty="0"/>
              <a:t> yderligere service besøg</a:t>
            </a:r>
            <a:r>
              <a:rPr lang="en-DK" sz="1900" dirty="0"/>
              <a:t> </a:t>
            </a:r>
            <a:endParaRPr lang="da-DK" sz="1900" dirty="0"/>
          </a:p>
          <a:p>
            <a:pPr lvl="0">
              <a:spcAft>
                <a:spcPts val="1000"/>
              </a:spcAft>
            </a:pPr>
            <a:r>
              <a:rPr lang="da-DK" sz="1900" dirty="0"/>
              <a:t>Mølle 11488 (2000): </a:t>
            </a:r>
            <a:r>
              <a:rPr lang="en-US" sz="1900" dirty="0"/>
              <a:t>3</a:t>
            </a:r>
            <a:r>
              <a:rPr lang="da-DK" sz="1900" dirty="0"/>
              <a:t> yderligere service besøg</a:t>
            </a:r>
            <a:endParaRPr lang="en-DK" sz="1900" dirty="0"/>
          </a:p>
          <a:p>
            <a:pPr marL="0" lvl="0" indent="0">
              <a:spcAft>
                <a:spcPts val="1000"/>
              </a:spcAft>
              <a:buNone/>
            </a:pPr>
            <a:r>
              <a:rPr lang="en-DK" sz="1900" dirty="0"/>
              <a:t>Service Budget over</a:t>
            </a:r>
            <a:r>
              <a:rPr lang="en-US" sz="1900" dirty="0" err="1"/>
              <a:t>skredet</a:t>
            </a:r>
            <a:r>
              <a:rPr lang="en-US" sz="1900" dirty="0"/>
              <a:t> med 59,840kr </a:t>
            </a:r>
            <a:r>
              <a:rPr lang="en-DK" sz="1900" dirty="0"/>
              <a:t> </a:t>
            </a:r>
            <a:r>
              <a:rPr lang="en-US" sz="1900" dirty="0" err="1"/>
              <a:t>pga</a:t>
            </a:r>
            <a:r>
              <a:rPr lang="en-US" sz="1900" dirty="0"/>
              <a:t>. </a:t>
            </a:r>
            <a:r>
              <a:rPr lang="en-US" sz="1900" dirty="0" err="1"/>
              <a:t>ekstra</a:t>
            </a:r>
            <a:r>
              <a:rPr lang="en-US" sz="1900" dirty="0"/>
              <a:t> service &amp; </a:t>
            </a:r>
            <a:r>
              <a:rPr lang="en-US" sz="1900" dirty="0" err="1"/>
              <a:t>stigning</a:t>
            </a:r>
            <a:r>
              <a:rPr lang="en-US" sz="1900" dirty="0"/>
              <a:t> I </a:t>
            </a:r>
            <a:r>
              <a:rPr lang="en-US" sz="1900" dirty="0" err="1"/>
              <a:t>komponentpriser</a:t>
            </a:r>
            <a:endParaRPr lang="en-US" sz="1900" dirty="0"/>
          </a:p>
          <a:p>
            <a:pPr marL="0" lvl="0" indent="0">
              <a:spcAft>
                <a:spcPts val="1000"/>
              </a:spcAft>
              <a:buNone/>
            </a:pPr>
            <a:endParaRPr lang="en-US" sz="2000" dirty="0"/>
          </a:p>
          <a:p>
            <a:pPr marL="0" lvl="0" indent="0">
              <a:spcAft>
                <a:spcPts val="1000"/>
              </a:spcAft>
              <a:buNone/>
            </a:pPr>
            <a:endParaRPr lang="en-US" sz="2000" dirty="0"/>
          </a:p>
          <a:p>
            <a:pPr marL="0" lvl="0" indent="0">
              <a:spcAft>
                <a:spcPts val="1000"/>
              </a:spcAft>
              <a:buNone/>
            </a:pPr>
            <a:endParaRPr lang="en-US" sz="2000" dirty="0"/>
          </a:p>
          <a:p>
            <a:pPr>
              <a:spcAft>
                <a:spcPts val="1000"/>
              </a:spcAft>
            </a:pPr>
            <a:r>
              <a:rPr lang="en-US" sz="1900" dirty="0" err="1"/>
              <a:t>Begge</a:t>
            </a:r>
            <a:r>
              <a:rPr lang="en-US" sz="1900" dirty="0"/>
              <a:t> m</a:t>
            </a:r>
            <a:r>
              <a:rPr lang="da-DK" sz="1900" dirty="0"/>
              <a:t>øller generelt i god stand, inkl. Vingerne. </a:t>
            </a:r>
          </a:p>
        </p:txBody>
      </p:sp>
      <p:pic>
        <p:nvPicPr>
          <p:cNvPr id="6146" name="Picture 2" descr="Cartoon: Vestas (medium) by Zoltan tagged energie,klimawandel,wind,wartung,wimmelbild,windkraftanlage,windkraft,karikatur,vestas,cartoon,dovath,zoltan,monteur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5412" y="2252996"/>
            <a:ext cx="3448236" cy="4174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992D695-998C-69AB-1B9B-DAFE00DD5EF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57827"/>
          <a:stretch/>
        </p:blipFill>
        <p:spPr>
          <a:xfrm>
            <a:off x="381001" y="4344731"/>
            <a:ext cx="5714999" cy="1071669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4934776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EFB2B22-C86F-3CEB-3CDF-99EDCB5BEA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Budget 2024</a:t>
            </a:r>
          </a:p>
        </p:txBody>
      </p:sp>
      <p:pic>
        <p:nvPicPr>
          <p:cNvPr id="3" name="Billede 2">
            <a:extLst>
              <a:ext uri="{FF2B5EF4-FFF2-40B4-BE49-F238E27FC236}">
                <a16:creationId xmlns:a16="http://schemas.microsoft.com/office/drawing/2014/main" id="{B81BF069-840C-3669-0775-232DDD10F5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2042" y="2120035"/>
            <a:ext cx="4538019" cy="4521617"/>
          </a:xfrm>
          <a:prstGeom prst="rect">
            <a:avLst/>
          </a:prstGeom>
        </p:spPr>
      </p:pic>
      <p:sp>
        <p:nvSpPr>
          <p:cNvPr id="5" name="Rektangel 4">
            <a:extLst>
              <a:ext uri="{FF2B5EF4-FFF2-40B4-BE49-F238E27FC236}">
                <a16:creationId xmlns:a16="http://schemas.microsoft.com/office/drawing/2014/main" id="{ED5F4929-4F93-EBEF-16E3-7F7740DA6A0C}"/>
              </a:ext>
            </a:extLst>
          </p:cNvPr>
          <p:cNvSpPr/>
          <p:nvPr/>
        </p:nvSpPr>
        <p:spPr>
          <a:xfrm>
            <a:off x="3191222" y="2248929"/>
            <a:ext cx="1616102" cy="4165317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852193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0515600" cy="132556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 sz="4000" b="1" dirty="0">
                <a:latin typeface="Arial" panose="020B0604020202020204" pitchFamily="34" charset="0"/>
                <a:cs typeface="Arial" panose="020B0604020202020204" pitchFamily="34" charset="0"/>
              </a:rPr>
              <a:t>Udlodning 2024</a:t>
            </a:r>
            <a:endParaRPr lang="en-GB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Tabel 6">
            <a:extLst>
              <a:ext uri="{FF2B5EF4-FFF2-40B4-BE49-F238E27FC236}">
                <a16:creationId xmlns:a16="http://schemas.microsoft.com/office/drawing/2014/main" id="{4D5D3AA4-F43B-F6A1-6AB8-941BF9C6E8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7169288"/>
              </p:ext>
            </p:extLst>
          </p:nvPr>
        </p:nvGraphicFramePr>
        <p:xfrm>
          <a:off x="428064" y="2429198"/>
          <a:ext cx="10515603" cy="251217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78176">
                  <a:extLst>
                    <a:ext uri="{9D8B030D-6E8A-4147-A177-3AD203B41FA5}">
                      <a16:colId xmlns:a16="http://schemas.microsoft.com/office/drawing/2014/main" val="1753462865"/>
                    </a:ext>
                  </a:extLst>
                </a:gridCol>
                <a:gridCol w="773095">
                  <a:extLst>
                    <a:ext uri="{9D8B030D-6E8A-4147-A177-3AD203B41FA5}">
                      <a16:colId xmlns:a16="http://schemas.microsoft.com/office/drawing/2014/main" val="210868588"/>
                    </a:ext>
                  </a:extLst>
                </a:gridCol>
                <a:gridCol w="1448616">
                  <a:extLst>
                    <a:ext uri="{9D8B030D-6E8A-4147-A177-3AD203B41FA5}">
                      <a16:colId xmlns:a16="http://schemas.microsoft.com/office/drawing/2014/main" val="655623567"/>
                    </a:ext>
                  </a:extLst>
                </a:gridCol>
                <a:gridCol w="487876">
                  <a:extLst>
                    <a:ext uri="{9D8B030D-6E8A-4147-A177-3AD203B41FA5}">
                      <a16:colId xmlns:a16="http://schemas.microsoft.com/office/drawing/2014/main" val="3144678992"/>
                    </a:ext>
                  </a:extLst>
                </a:gridCol>
                <a:gridCol w="487876">
                  <a:extLst>
                    <a:ext uri="{9D8B030D-6E8A-4147-A177-3AD203B41FA5}">
                      <a16:colId xmlns:a16="http://schemas.microsoft.com/office/drawing/2014/main" val="2483994285"/>
                    </a:ext>
                  </a:extLst>
                </a:gridCol>
                <a:gridCol w="622980">
                  <a:extLst>
                    <a:ext uri="{9D8B030D-6E8A-4147-A177-3AD203B41FA5}">
                      <a16:colId xmlns:a16="http://schemas.microsoft.com/office/drawing/2014/main" val="1526221720"/>
                    </a:ext>
                  </a:extLst>
                </a:gridCol>
                <a:gridCol w="562934">
                  <a:extLst>
                    <a:ext uri="{9D8B030D-6E8A-4147-A177-3AD203B41FA5}">
                      <a16:colId xmlns:a16="http://schemas.microsoft.com/office/drawing/2014/main" val="284054567"/>
                    </a:ext>
                  </a:extLst>
                </a:gridCol>
                <a:gridCol w="562934">
                  <a:extLst>
                    <a:ext uri="{9D8B030D-6E8A-4147-A177-3AD203B41FA5}">
                      <a16:colId xmlns:a16="http://schemas.microsoft.com/office/drawing/2014/main" val="307983719"/>
                    </a:ext>
                  </a:extLst>
                </a:gridCol>
                <a:gridCol w="562934">
                  <a:extLst>
                    <a:ext uri="{9D8B030D-6E8A-4147-A177-3AD203B41FA5}">
                      <a16:colId xmlns:a16="http://schemas.microsoft.com/office/drawing/2014/main" val="892576323"/>
                    </a:ext>
                  </a:extLst>
                </a:gridCol>
                <a:gridCol w="562934">
                  <a:extLst>
                    <a:ext uri="{9D8B030D-6E8A-4147-A177-3AD203B41FA5}">
                      <a16:colId xmlns:a16="http://schemas.microsoft.com/office/drawing/2014/main" val="3702121335"/>
                    </a:ext>
                  </a:extLst>
                </a:gridCol>
                <a:gridCol w="750578">
                  <a:extLst>
                    <a:ext uri="{9D8B030D-6E8A-4147-A177-3AD203B41FA5}">
                      <a16:colId xmlns:a16="http://schemas.microsoft.com/office/drawing/2014/main" val="1575367264"/>
                    </a:ext>
                  </a:extLst>
                </a:gridCol>
                <a:gridCol w="562934">
                  <a:extLst>
                    <a:ext uri="{9D8B030D-6E8A-4147-A177-3AD203B41FA5}">
                      <a16:colId xmlns:a16="http://schemas.microsoft.com/office/drawing/2014/main" val="2436148986"/>
                    </a:ext>
                  </a:extLst>
                </a:gridCol>
                <a:gridCol w="562934">
                  <a:extLst>
                    <a:ext uri="{9D8B030D-6E8A-4147-A177-3AD203B41FA5}">
                      <a16:colId xmlns:a16="http://schemas.microsoft.com/office/drawing/2014/main" val="2894203594"/>
                    </a:ext>
                  </a:extLst>
                </a:gridCol>
                <a:gridCol w="562934">
                  <a:extLst>
                    <a:ext uri="{9D8B030D-6E8A-4147-A177-3AD203B41FA5}">
                      <a16:colId xmlns:a16="http://schemas.microsoft.com/office/drawing/2014/main" val="1793184105"/>
                    </a:ext>
                  </a:extLst>
                </a:gridCol>
                <a:gridCol w="562934">
                  <a:extLst>
                    <a:ext uri="{9D8B030D-6E8A-4147-A177-3AD203B41FA5}">
                      <a16:colId xmlns:a16="http://schemas.microsoft.com/office/drawing/2014/main" val="3591187989"/>
                    </a:ext>
                  </a:extLst>
                </a:gridCol>
                <a:gridCol w="562934">
                  <a:extLst>
                    <a:ext uri="{9D8B030D-6E8A-4147-A177-3AD203B41FA5}">
                      <a16:colId xmlns:a16="http://schemas.microsoft.com/office/drawing/2014/main" val="620167591"/>
                    </a:ext>
                  </a:extLst>
                </a:gridCol>
              </a:tblGrid>
              <a:tr h="108083"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Pengestrømme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extLst>
                  <a:ext uri="{0D108BD9-81ED-4DB2-BD59-A6C34878D82A}">
                    <a16:rowId xmlns:a16="http://schemas.microsoft.com/office/drawing/2014/main" val="2687113190"/>
                  </a:ext>
                </a:extLst>
              </a:tr>
              <a:tr h="108083"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700" u="none" strike="noStrike">
                          <a:effectLst/>
                        </a:rPr>
                        <a:t>ultimo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700" u="none" strike="noStrike">
                          <a:effectLst/>
                        </a:rPr>
                        <a:t>Jan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700" u="none" strike="noStrike">
                          <a:effectLst/>
                        </a:rPr>
                        <a:t>Feb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Marts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April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Maj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Juni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Juli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August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September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Oktober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November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December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check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extLst>
                  <a:ext uri="{0D108BD9-81ED-4DB2-BD59-A6C34878D82A}">
                    <a16:rowId xmlns:a16="http://schemas.microsoft.com/office/drawing/2014/main" val="2836692981"/>
                  </a:ext>
                </a:extLst>
              </a:tr>
              <a:tr h="108083"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700" u="none" strike="noStrike">
                          <a:effectLst/>
                        </a:rPr>
                        <a:t>Fordeling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700" u="none" strike="noStrike">
                          <a:effectLst/>
                        </a:rPr>
                        <a:t>10%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700" u="none" strike="noStrike">
                          <a:effectLst/>
                        </a:rPr>
                        <a:t>10%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700" u="none" strike="noStrike">
                          <a:effectLst/>
                        </a:rPr>
                        <a:t>11%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700" u="none" strike="noStrike">
                          <a:effectLst/>
                        </a:rPr>
                        <a:t>7%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700" u="none" strike="noStrike">
                          <a:effectLst/>
                        </a:rPr>
                        <a:t>6%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700" u="none" strike="noStrike">
                          <a:effectLst/>
                        </a:rPr>
                        <a:t>6%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700" u="none" strike="noStrike">
                          <a:effectLst/>
                        </a:rPr>
                        <a:t>6%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700" u="none" strike="noStrike">
                          <a:effectLst/>
                        </a:rPr>
                        <a:t>6%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700" u="none" strike="noStrike">
                          <a:effectLst/>
                        </a:rPr>
                        <a:t>7%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700" u="none" strike="noStrike">
                          <a:effectLst/>
                        </a:rPr>
                        <a:t>8%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700" u="none" strike="noStrike">
                          <a:effectLst/>
                        </a:rPr>
                        <a:t>11%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700" u="none" strike="noStrike">
                          <a:effectLst/>
                        </a:rPr>
                        <a:t>12%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700" u="none" strike="noStrike">
                          <a:effectLst/>
                        </a:rPr>
                        <a:t>100%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extLst>
                  <a:ext uri="{0D108BD9-81ED-4DB2-BD59-A6C34878D82A}">
                    <a16:rowId xmlns:a16="http://schemas.microsoft.com/office/drawing/2014/main" val="4031784080"/>
                  </a:ext>
                </a:extLst>
              </a:tr>
              <a:tr h="108083"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700" u="none" strike="noStrike">
                          <a:effectLst/>
                        </a:rPr>
                        <a:t>Produktion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     101.500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     101.500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             111.650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            71.050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            60.900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            60.900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            60.900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                      60.900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            71.050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            81.200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         111.650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         121.800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      2.900.000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extLst>
                  <a:ext uri="{0D108BD9-81ED-4DB2-BD59-A6C34878D82A}">
                    <a16:rowId xmlns:a16="http://schemas.microsoft.com/office/drawing/2014/main" val="2268775233"/>
                  </a:ext>
                </a:extLst>
              </a:tr>
              <a:tr h="108083"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700" u="none" strike="noStrike">
                          <a:effectLst/>
                        </a:rPr>
                        <a:t>Ind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121.800 kr.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101.500 kr.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       101.500 kr.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    111.650 kr.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      71.050 kr.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      60.900 kr.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      60.900 kr.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                60.900 kr.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      60.900 kr.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      71.050 kr.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      81.200 kr.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    111.650 kr.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1.015.000 kr.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extLst>
                  <a:ext uri="{0D108BD9-81ED-4DB2-BD59-A6C34878D82A}">
                    <a16:rowId xmlns:a16="http://schemas.microsoft.com/office/drawing/2014/main" val="2316327199"/>
                  </a:ext>
                </a:extLst>
              </a:tr>
              <a:tr h="108083"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700" u="none" strike="noStrike">
                          <a:effectLst/>
                        </a:rPr>
                        <a:t>ud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-          525 kr.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-       1.295 kr.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-              1.615 kr.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      14.093 kr.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-        47.679 kr.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-        92.920 kr.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-        15.728 kr.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-                   58.163 kr.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-        11.370 kr.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-        38.160 kr.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-        61.081 kr.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-        26.295 kr.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-      340.738 kr.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extLst>
                  <a:ext uri="{0D108BD9-81ED-4DB2-BD59-A6C34878D82A}">
                    <a16:rowId xmlns:a16="http://schemas.microsoft.com/office/drawing/2014/main" val="3371070905"/>
                  </a:ext>
                </a:extLst>
              </a:tr>
              <a:tr h="112587"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700" u="none" strike="noStrike">
                          <a:effectLst/>
                        </a:rPr>
                        <a:t>Akk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621.275 kr.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721.480 kr.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       821.365 kr.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    947.108 kr.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    970.479 kr.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    938.459 kr.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    983.631 kr.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              986.368 kr.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1.035.898 kr.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1.068.788 kr.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1.088.907 kr.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1.174.262 kr.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extLst>
                  <a:ext uri="{0D108BD9-81ED-4DB2-BD59-A6C34878D82A}">
                    <a16:rowId xmlns:a16="http://schemas.microsoft.com/office/drawing/2014/main" val="975949683"/>
                  </a:ext>
                </a:extLst>
              </a:tr>
              <a:tr h="202656"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Åbning Primo Januar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                                                     500.000 kr.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    674.262 kr.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extLst>
                  <a:ext uri="{0D108BD9-81ED-4DB2-BD59-A6C34878D82A}">
                    <a16:rowId xmlns:a16="http://schemas.microsoft.com/office/drawing/2014/main" val="1317925297"/>
                  </a:ext>
                </a:extLst>
              </a:tr>
              <a:tr h="202656"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Anlægs kap krav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                                                     450.000 kr.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extLst>
                  <a:ext uri="{0D108BD9-81ED-4DB2-BD59-A6C34878D82A}">
                    <a16:rowId xmlns:a16="http://schemas.microsoft.com/office/drawing/2014/main" val="655370996"/>
                  </a:ext>
                </a:extLst>
              </a:tr>
              <a:tr h="108083"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Udlodning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                         50 kr. </a:t>
                      </a:r>
                      <a:endParaRPr lang="da-DK" sz="700" b="0" i="0" u="none" strike="noStrike">
                        <a:solidFill>
                          <a:srgbClr val="0061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-                                                       163.350 kr.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extLst>
                  <a:ext uri="{0D108BD9-81ED-4DB2-BD59-A6C34878D82A}">
                    <a16:rowId xmlns:a16="http://schemas.microsoft.com/office/drawing/2014/main" val="355463743"/>
                  </a:ext>
                </a:extLst>
              </a:tr>
              <a:tr h="108083"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andele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700" u="none" strike="noStrike">
                          <a:effectLst/>
                        </a:rPr>
                        <a:t>3267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Udlodning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-         163.350 kr.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-      163.350 kr.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-      163.350 kr.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-      163.350 kr.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-      653.400 kr.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extLst>
                  <a:ext uri="{0D108BD9-81ED-4DB2-BD59-A6C34878D82A}">
                    <a16:rowId xmlns:a16="http://schemas.microsoft.com/office/drawing/2014/main" val="4268170740"/>
                  </a:ext>
                </a:extLst>
              </a:tr>
              <a:tr h="108083"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700" u="none" strike="noStrike">
                          <a:effectLst/>
                        </a:rPr>
                        <a:t>Ny Akk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621.275 kr. </a:t>
                      </a:r>
                      <a:endParaRPr lang="da-DK" sz="700" b="0" i="0" u="none" strike="noStrike">
                        <a:solidFill>
                          <a:srgbClr val="9C57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721.480 kr. </a:t>
                      </a:r>
                      <a:endParaRPr lang="da-DK" sz="700" b="0" i="0" u="none" strike="noStrike">
                        <a:solidFill>
                          <a:srgbClr val="9C57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       658.015 kr. </a:t>
                      </a:r>
                      <a:endParaRPr lang="da-DK" sz="700" b="0" i="0" u="none" strike="noStrike">
                        <a:solidFill>
                          <a:srgbClr val="9C57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    783.758 kr. </a:t>
                      </a:r>
                      <a:endParaRPr lang="da-DK" sz="700" b="0" i="0" u="none" strike="noStrike">
                        <a:solidFill>
                          <a:srgbClr val="9C57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    807.129 kr. </a:t>
                      </a:r>
                      <a:endParaRPr lang="da-DK" sz="700" b="0" i="0" u="none" strike="noStrike">
                        <a:solidFill>
                          <a:srgbClr val="9C57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    611.759 kr. </a:t>
                      </a:r>
                      <a:endParaRPr lang="da-DK" sz="700" b="0" i="0" u="none" strike="noStrike">
                        <a:solidFill>
                          <a:srgbClr val="9C57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    656.931 kr. </a:t>
                      </a:r>
                      <a:endParaRPr lang="da-DK" sz="700" b="0" i="0" u="none" strike="noStrike">
                        <a:solidFill>
                          <a:srgbClr val="9C57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              659.668 kr. </a:t>
                      </a:r>
                      <a:endParaRPr lang="da-DK" sz="700" b="0" i="0" u="none" strike="noStrike">
                        <a:solidFill>
                          <a:srgbClr val="9C57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    545.848 kr. </a:t>
                      </a:r>
                      <a:endParaRPr lang="da-DK" sz="700" b="0" i="0" u="none" strike="noStrike">
                        <a:solidFill>
                          <a:srgbClr val="9C57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    578.738 kr. </a:t>
                      </a:r>
                      <a:endParaRPr lang="da-DK" sz="700" b="0" i="0" u="none" strike="noStrike">
                        <a:solidFill>
                          <a:srgbClr val="9C57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    598.857 kr. </a:t>
                      </a:r>
                      <a:endParaRPr lang="da-DK" sz="700" b="0" i="0" u="none" strike="noStrike">
                        <a:solidFill>
                          <a:srgbClr val="9C57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    520.862 kr. </a:t>
                      </a:r>
                      <a:endParaRPr lang="da-DK" sz="700" b="0" i="0" u="none" strike="noStrike">
                        <a:solidFill>
                          <a:srgbClr val="9C57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extLst>
                  <a:ext uri="{0D108BD9-81ED-4DB2-BD59-A6C34878D82A}">
                    <a16:rowId xmlns:a16="http://schemas.microsoft.com/office/drawing/2014/main" val="3556669535"/>
                  </a:ext>
                </a:extLst>
              </a:tr>
              <a:tr h="108083"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Likviditet til Anlægskapital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171.275 kr.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271.480 kr.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       208.015 kr.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    333.758 kr.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    357.129 kr.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    161.759 kr.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    206.931 kr.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              209.668 kr.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      95.848 kr.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    128.738 kr.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    148.857 kr.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700" u="none" strike="noStrike">
                          <a:effectLst/>
                        </a:rPr>
                        <a:t>          70.862 kr. </a:t>
                      </a:r>
                      <a:endParaRPr lang="da-DK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a-DK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03" marR="4503" marT="4503" marB="0" anchor="b"/>
                </a:tc>
                <a:extLst>
                  <a:ext uri="{0D108BD9-81ED-4DB2-BD59-A6C34878D82A}">
                    <a16:rowId xmlns:a16="http://schemas.microsoft.com/office/drawing/2014/main" val="567572438"/>
                  </a:ext>
                </a:extLst>
              </a:tr>
            </a:tbl>
          </a:graphicData>
        </a:graphic>
      </p:graphicFrame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89BF454A-C509-7A63-4030-F5486F77944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85394984"/>
              </p:ext>
            </p:extLst>
          </p:nvPr>
        </p:nvGraphicFramePr>
        <p:xfrm>
          <a:off x="2864224" y="5082988"/>
          <a:ext cx="7758952" cy="16081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67303722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673D059-18E1-4F36-85B8-480F0F2E8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66420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673D059-18E1-4F36-85B8-480F0F2E8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0515600" cy="132556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 sz="4000" b="1" dirty="0">
                <a:latin typeface="Arial" panose="020B0604020202020204" pitchFamily="34" charset="0"/>
                <a:cs typeface="Arial" panose="020B0604020202020204" pitchFamily="34" charset="0"/>
              </a:rPr>
              <a:t>Indkommende forslag</a:t>
            </a:r>
            <a:endParaRPr lang="en-GB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kstfelt 2">
            <a:extLst>
              <a:ext uri="{FF2B5EF4-FFF2-40B4-BE49-F238E27FC236}">
                <a16:creationId xmlns:a16="http://schemas.microsoft.com/office/drawing/2014/main" id="{BEC4D4E0-3519-76BB-F1C8-40B03F862A2E}"/>
              </a:ext>
            </a:extLst>
          </p:cNvPr>
          <p:cNvSpPr txBox="1"/>
          <p:nvPr/>
        </p:nvSpPr>
        <p:spPr>
          <a:xfrm>
            <a:off x="451022" y="2564027"/>
            <a:ext cx="17011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dirty="0"/>
              <a:t>Ingen før mødet</a:t>
            </a:r>
          </a:p>
        </p:txBody>
      </p:sp>
    </p:spTree>
    <p:extLst>
      <p:ext uri="{BB962C8B-B14F-4D97-AF65-F5344CB8AC3E}">
        <p14:creationId xmlns:p14="http://schemas.microsoft.com/office/powerpoint/2010/main" val="22370789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915</TotalTime>
  <Words>802</Words>
  <Application>Microsoft Office PowerPoint</Application>
  <PresentationFormat>Widescreen</PresentationFormat>
  <Paragraphs>186</Paragraphs>
  <Slides>10</Slides>
  <Notes>0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5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0</vt:i4>
      </vt:variant>
    </vt:vector>
  </HeadingPairs>
  <TitlesOfParts>
    <vt:vector size="17" baseType="lpstr">
      <vt:lpstr>Acme</vt:lpstr>
      <vt:lpstr>Arial</vt:lpstr>
      <vt:lpstr>Calibri</vt:lpstr>
      <vt:lpstr>Calibri Light</vt:lpstr>
      <vt:lpstr>Symbol</vt:lpstr>
      <vt:lpstr>Office Theme</vt:lpstr>
      <vt:lpstr>think-cell Slide</vt:lpstr>
      <vt:lpstr> Ordinært Interessentskabsmøde for året 2023</vt:lpstr>
      <vt:lpstr>Dagsorden</vt:lpstr>
      <vt:lpstr>PowerPoint-præsentation</vt:lpstr>
      <vt:lpstr>Beretning</vt:lpstr>
      <vt:lpstr>Beretning</vt:lpstr>
      <vt:lpstr>Teknik – Møllernes tilstand &amp; Service oversigt</vt:lpstr>
      <vt:lpstr>Budget 2024</vt:lpstr>
      <vt:lpstr>Udlodning 2024</vt:lpstr>
      <vt:lpstr>Indkommende forslag</vt:lpstr>
      <vt:lpstr>PowerPoint-præsentation</vt:lpstr>
    </vt:vector>
  </TitlesOfParts>
  <Company>Nordex S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neral Forsamling 2016</dc:title>
  <dc:creator>Wichmann-Hansen, Kim</dc:creator>
  <cp:lastModifiedBy>Lars Olsen</cp:lastModifiedBy>
  <cp:revision>101</cp:revision>
  <dcterms:created xsi:type="dcterms:W3CDTF">2016-03-02T15:21:03Z</dcterms:created>
  <dcterms:modified xsi:type="dcterms:W3CDTF">2024-04-01T21:50:00Z</dcterms:modified>
</cp:coreProperties>
</file>